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2.emf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2A7E98-BBEC-DA53-EB3E-80687AE58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>
            <a:extLst>
              <a:ext uri="{FF2B5EF4-FFF2-40B4-BE49-F238E27FC236}">
                <a16:creationId xmlns:a16="http://schemas.microsoft.com/office/drawing/2014/main" id="{D3B1CE96-DE3A-6D21-5EC8-E7FED8556B6E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0402" y="2668183"/>
            <a:ext cx="3132010" cy="2907924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CF317A-59D3-1819-761B-7E6E9CA08D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CF317A-59D3-1819-761B-7E6E9CA08D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982F37-806E-6BDD-9FE7-B910D5FF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A49472-AB5C-711C-B0E5-5373D6924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 Infographic</a:t>
            </a:r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B6383E5F-CB76-D4B1-97DA-7030C23DAFFA}"/>
              </a:ext>
            </a:extLst>
          </p:cNvPr>
          <p:cNvSpPr/>
          <p:nvPr/>
        </p:nvSpPr>
        <p:spPr>
          <a:xfrm flipH="1">
            <a:off x="6975724" y="3129427"/>
            <a:ext cx="710964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D9FD2046-7CE5-6694-DCC5-99390D043D8F}"/>
              </a:ext>
            </a:extLst>
          </p:cNvPr>
          <p:cNvSpPr/>
          <p:nvPr/>
        </p:nvSpPr>
        <p:spPr>
          <a:xfrm flipH="1" flipV="1">
            <a:off x="6975724" y="4726049"/>
            <a:ext cx="834776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3A8F905F-7568-77E1-F2C0-8A36BE56320D}"/>
              </a:ext>
            </a:extLst>
          </p:cNvPr>
          <p:cNvSpPr/>
          <p:nvPr/>
        </p:nvSpPr>
        <p:spPr>
          <a:xfrm>
            <a:off x="4635227" y="3129427"/>
            <a:ext cx="710964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64B566E5-1138-FFE9-3F21-FB8B0E3CC63A}"/>
              </a:ext>
            </a:extLst>
          </p:cNvPr>
          <p:cNvSpPr/>
          <p:nvPr/>
        </p:nvSpPr>
        <p:spPr>
          <a:xfrm flipV="1">
            <a:off x="4635227" y="4726049"/>
            <a:ext cx="710964" cy="517988"/>
          </a:xfrm>
          <a:custGeom>
            <a:avLst/>
            <a:gdLst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  <a:gd name="connsiteX0" fmla="*/ 889000 w 889000"/>
              <a:gd name="connsiteY0" fmla="*/ 647700 h 647700"/>
              <a:gd name="connsiteX1" fmla="*/ 0 w 889000"/>
              <a:gd name="connsiteY1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0" h="647700">
                <a:moveTo>
                  <a:pt x="889000" y="647700"/>
                </a:moveTo>
                <a:cubicBezTo>
                  <a:pt x="770467" y="431800"/>
                  <a:pt x="639233" y="95250"/>
                  <a:pt x="0" y="0"/>
                </a:cubicBezTo>
              </a:path>
            </a:pathLst>
          </a:cu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7A94888-0F5C-7534-E5FE-FC75C3C87385}"/>
              </a:ext>
            </a:extLst>
          </p:cNvPr>
          <p:cNvCxnSpPr/>
          <p:nvPr/>
        </p:nvCxnSpPr>
        <p:spPr>
          <a:xfrm>
            <a:off x="4648433" y="4186228"/>
            <a:ext cx="526520" cy="1524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F74698A0-FFF3-EF6A-D277-5A2773224F25}"/>
              </a:ext>
            </a:extLst>
          </p:cNvPr>
          <p:cNvSpPr/>
          <p:nvPr/>
        </p:nvSpPr>
        <p:spPr bwMode="auto">
          <a:xfrm>
            <a:off x="4031722" y="2811322"/>
            <a:ext cx="617927" cy="617927"/>
          </a:xfrm>
          <a:prstGeom prst="ellipse">
            <a:avLst/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42E6C6C-B329-857F-9897-03D0E31EF75D}"/>
              </a:ext>
            </a:extLst>
          </p:cNvPr>
          <p:cNvSpPr/>
          <p:nvPr/>
        </p:nvSpPr>
        <p:spPr bwMode="auto">
          <a:xfrm flipV="1">
            <a:off x="4031722" y="4944215"/>
            <a:ext cx="617927" cy="617927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rtl="0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DF5F412-6B68-8D4B-D90A-565AB4F8B249}"/>
              </a:ext>
            </a:extLst>
          </p:cNvPr>
          <p:cNvSpPr/>
          <p:nvPr/>
        </p:nvSpPr>
        <p:spPr bwMode="auto">
          <a:xfrm flipH="1" flipV="1">
            <a:off x="7672267" y="2797915"/>
            <a:ext cx="617927" cy="617927"/>
          </a:xfrm>
          <a:prstGeom prst="ellipse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rtl="0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76A7471-B794-E155-8AC4-C16E0E977A72}"/>
              </a:ext>
            </a:extLst>
          </p:cNvPr>
          <p:cNvSpPr/>
          <p:nvPr/>
        </p:nvSpPr>
        <p:spPr bwMode="auto">
          <a:xfrm flipV="1">
            <a:off x="4031722" y="3878026"/>
            <a:ext cx="617927" cy="617927"/>
          </a:xfrm>
          <a:prstGeom prst="ellipse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rtl="0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8D092D-3A2C-1341-5E6A-BA4BEF249D10}"/>
              </a:ext>
            </a:extLst>
          </p:cNvPr>
          <p:cNvGrpSpPr/>
          <p:nvPr/>
        </p:nvGrpSpPr>
        <p:grpSpPr>
          <a:xfrm>
            <a:off x="5191223" y="3217256"/>
            <a:ext cx="1939468" cy="1939467"/>
            <a:chOff x="3602267" y="2122974"/>
            <a:chExt cx="1939468" cy="1939467"/>
          </a:xfrm>
        </p:grpSpPr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D961E536-E2EB-46DC-8AF5-43F8FD5E18F5}"/>
                </a:ext>
              </a:extLst>
            </p:cNvPr>
            <p:cNvSpPr/>
            <p:nvPr/>
          </p:nvSpPr>
          <p:spPr>
            <a:xfrm>
              <a:off x="3602267" y="2122974"/>
              <a:ext cx="1939468" cy="1939467"/>
            </a:xfrm>
            <a:custGeom>
              <a:avLst/>
              <a:gdLst>
                <a:gd name="connsiteX0" fmla="*/ 1010474 w 2020948"/>
                <a:gd name="connsiteY0" fmla="*/ 0 h 2020948"/>
                <a:gd name="connsiteX1" fmla="*/ 2020948 w 2020948"/>
                <a:gd name="connsiteY1" fmla="*/ 1010474 h 2020948"/>
                <a:gd name="connsiteX2" fmla="*/ 1010474 w 2020948"/>
                <a:gd name="connsiteY2" fmla="*/ 2020948 h 2020948"/>
                <a:gd name="connsiteX3" fmla="*/ 0 w 2020948"/>
                <a:gd name="connsiteY3" fmla="*/ 1010474 h 2020948"/>
                <a:gd name="connsiteX4" fmla="*/ 1010474 w 2020948"/>
                <a:gd name="connsiteY4" fmla="*/ 0 h 202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948" h="2020948">
                  <a:moveTo>
                    <a:pt x="1010474" y="0"/>
                  </a:moveTo>
                  <a:cubicBezTo>
                    <a:pt x="1568543" y="0"/>
                    <a:pt x="2020948" y="452405"/>
                    <a:pt x="2020948" y="1010474"/>
                  </a:cubicBezTo>
                  <a:cubicBezTo>
                    <a:pt x="2020948" y="1568543"/>
                    <a:pt x="1568543" y="2020948"/>
                    <a:pt x="1010474" y="2020948"/>
                  </a:cubicBezTo>
                  <a:cubicBezTo>
                    <a:pt x="452405" y="2020948"/>
                    <a:pt x="0" y="1568543"/>
                    <a:pt x="0" y="1010474"/>
                  </a:cubicBezTo>
                  <a:cubicBezTo>
                    <a:pt x="0" y="452405"/>
                    <a:pt x="452405" y="0"/>
                    <a:pt x="1010474" y="0"/>
                  </a:cubicBezTo>
                  <a:close/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1B32DD09-2FDF-6205-01AA-D66B83B35624}"/>
                </a:ext>
              </a:extLst>
            </p:cNvPr>
            <p:cNvSpPr/>
            <p:nvPr/>
          </p:nvSpPr>
          <p:spPr>
            <a:xfrm>
              <a:off x="3810000" y="2330707"/>
              <a:ext cx="1524000" cy="1524000"/>
            </a:xfrm>
            <a:custGeom>
              <a:avLst/>
              <a:gdLst>
                <a:gd name="connsiteX0" fmla="*/ 1010474 w 2020948"/>
                <a:gd name="connsiteY0" fmla="*/ 0 h 2020948"/>
                <a:gd name="connsiteX1" fmla="*/ 2020948 w 2020948"/>
                <a:gd name="connsiteY1" fmla="*/ 1010474 h 2020948"/>
                <a:gd name="connsiteX2" fmla="*/ 1010474 w 2020948"/>
                <a:gd name="connsiteY2" fmla="*/ 2020948 h 2020948"/>
                <a:gd name="connsiteX3" fmla="*/ 0 w 2020948"/>
                <a:gd name="connsiteY3" fmla="*/ 1010474 h 2020948"/>
                <a:gd name="connsiteX4" fmla="*/ 1010474 w 2020948"/>
                <a:gd name="connsiteY4" fmla="*/ 0 h 202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948" h="2020948">
                  <a:moveTo>
                    <a:pt x="1010474" y="0"/>
                  </a:moveTo>
                  <a:cubicBezTo>
                    <a:pt x="1568543" y="0"/>
                    <a:pt x="2020948" y="452405"/>
                    <a:pt x="2020948" y="1010474"/>
                  </a:cubicBezTo>
                  <a:cubicBezTo>
                    <a:pt x="2020948" y="1568543"/>
                    <a:pt x="1568543" y="2020948"/>
                    <a:pt x="1010474" y="2020948"/>
                  </a:cubicBezTo>
                  <a:cubicBezTo>
                    <a:pt x="452405" y="2020948"/>
                    <a:pt x="0" y="1568543"/>
                    <a:pt x="0" y="1010474"/>
                  </a:cubicBezTo>
                  <a:cubicBezTo>
                    <a:pt x="0" y="452405"/>
                    <a:pt x="452405" y="0"/>
                    <a:pt x="101047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D9050C2-9735-0EF5-A13D-91575D4BF6C3}"/>
              </a:ext>
            </a:extLst>
          </p:cNvPr>
          <p:cNvSpPr txBox="1"/>
          <p:nvPr/>
        </p:nvSpPr>
        <p:spPr>
          <a:xfrm>
            <a:off x="8349905" y="4806612"/>
            <a:ext cx="2101881" cy="123794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D691E3-9548-84B5-22F0-5DCC3DF42CA8}"/>
              </a:ext>
            </a:extLst>
          </p:cNvPr>
          <p:cNvSpPr txBox="1"/>
          <p:nvPr/>
        </p:nvSpPr>
        <p:spPr>
          <a:xfrm>
            <a:off x="1463040" y="3678832"/>
            <a:ext cx="2445679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CCE67E-3E01-FC77-A788-96CB1EDBB42B}"/>
              </a:ext>
            </a:extLst>
          </p:cNvPr>
          <p:cNvSpPr txBox="1"/>
          <p:nvPr/>
        </p:nvSpPr>
        <p:spPr>
          <a:xfrm>
            <a:off x="1463040" y="4806612"/>
            <a:ext cx="2445680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F2E3481-97D1-9094-E776-AE15022A0D72}"/>
              </a:ext>
            </a:extLst>
          </p:cNvPr>
          <p:cNvSpPr txBox="1"/>
          <p:nvPr/>
        </p:nvSpPr>
        <p:spPr>
          <a:xfrm>
            <a:off x="1705648" y="2551051"/>
            <a:ext cx="2203072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grpSp>
        <p:nvGrpSpPr>
          <p:cNvPr id="22" name="ZenIcon1">
            <a:extLst>
              <a:ext uri="{FF2B5EF4-FFF2-40B4-BE49-F238E27FC236}">
                <a16:creationId xmlns:a16="http://schemas.microsoft.com/office/drawing/2014/main" id="{592C4240-13F6-3C68-632C-795526F63DA5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160330" y="5082348"/>
            <a:ext cx="360710" cy="360710"/>
            <a:chOff x="5712408" y="975680"/>
            <a:chExt cx="671729" cy="639391"/>
          </a:xfrm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5A2C111D-1A3B-6D52-0E51-65672C666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C4EE6F01-A989-027B-B8BF-DA55C6D77D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00ED1D34-9ABC-831E-95FD-4A2ADEEDC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8FE07E6D-BCBF-6CA2-1B4B-8C7188C27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4F4D6A22-5829-0B02-964D-0EA0FD538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21EA60C9-C7A4-46D2-8B2F-2531BBBC5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29" name="ZenIcon2">
            <a:extLst>
              <a:ext uri="{FF2B5EF4-FFF2-40B4-BE49-F238E27FC236}">
                <a16:creationId xmlns:a16="http://schemas.microsoft.com/office/drawing/2014/main" id="{24914187-DE9C-8B6A-54A4-79EC02FDF95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808561" y="2937066"/>
            <a:ext cx="316264" cy="316264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30" name="ZenIcon4">
            <a:extLst>
              <a:ext uri="{FF2B5EF4-FFF2-40B4-BE49-F238E27FC236}">
                <a16:creationId xmlns:a16="http://schemas.microsoft.com/office/drawing/2014/main" id="{86EC61D4-8752-3BAD-1369-0EE8F103D4A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4165369" y="2944969"/>
            <a:ext cx="350632" cy="350632"/>
            <a:chOff x="-4769427" y="-314325"/>
            <a:chExt cx="4660901" cy="4576762"/>
          </a:xfrm>
        </p:grpSpPr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D8DD996A-A0D7-33CA-A0B5-200C50C625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43CF2968-B010-E95B-B498-9FFD85E14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01A7FAE2-7149-F856-7B4C-84B44A67F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1A564C7A-D43C-684B-2616-E133D8BE3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9F8D1AC0-A23F-C258-FF44-BD88A2953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10313ADE-E939-CB36-C3E3-422A7D635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ZenIcon1">
            <a:extLst>
              <a:ext uri="{FF2B5EF4-FFF2-40B4-BE49-F238E27FC236}">
                <a16:creationId xmlns:a16="http://schemas.microsoft.com/office/drawing/2014/main" id="{ED0431F9-DB1C-8E11-CB85-BDD22474E18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4166518" y="4021434"/>
            <a:ext cx="322932" cy="322932"/>
            <a:chOff x="5712408" y="975680"/>
            <a:chExt cx="671729" cy="639391"/>
          </a:xfrm>
        </p:grpSpPr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90FF8A14-9FFD-EB80-C8A4-3E31187200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8CE850CA-BD26-89A5-BE70-DD6EEA0F7A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1C1AFD93-2055-9E0B-E582-AC43B76810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B7CE6FB0-3A6D-0926-1BD8-3CF6C25ED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F4A245C7-35A2-8AF8-2307-DBEEE989E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92CF1FBC-515D-3FDC-A2B3-3258DCD02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639BEA8-A8ED-B3B6-1AB6-8B9808E9D9A5}"/>
              </a:ext>
            </a:extLst>
          </p:cNvPr>
          <p:cNvGrpSpPr/>
          <p:nvPr/>
        </p:nvGrpSpPr>
        <p:grpSpPr>
          <a:xfrm>
            <a:off x="7672267" y="4944826"/>
            <a:ext cx="617927" cy="617927"/>
            <a:chOff x="7672267" y="3878026"/>
            <a:chExt cx="617927" cy="617927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0E10ED9-2A74-D6B9-BE76-3621BAD5019B}"/>
                </a:ext>
              </a:extLst>
            </p:cNvPr>
            <p:cNvSpPr/>
            <p:nvPr/>
          </p:nvSpPr>
          <p:spPr bwMode="auto">
            <a:xfrm flipH="1" flipV="1">
              <a:off x="7672267" y="3878026"/>
              <a:ext cx="617927" cy="617927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rtl="0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6" name="ZenIcon3">
              <a:extLst>
                <a:ext uri="{FF2B5EF4-FFF2-40B4-BE49-F238E27FC236}">
                  <a16:creationId xmlns:a16="http://schemas.microsoft.com/office/drawing/2014/main" id="{3177E9FC-6958-F4AF-7DB7-50AA3075A18C}"/>
                </a:ext>
              </a:extLst>
            </p:cNvPr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7822978" y="4023257"/>
              <a:ext cx="317722" cy="318514"/>
            </a:xfrm>
            <a:custGeom>
              <a:avLst/>
              <a:gdLst>
                <a:gd name="T0" fmla="*/ 1698 w 2448"/>
                <a:gd name="T1" fmla="*/ 97 h 2446"/>
                <a:gd name="T2" fmla="*/ 748 w 2448"/>
                <a:gd name="T3" fmla="*/ 97 h 2446"/>
                <a:gd name="T4" fmla="*/ 0 w 2448"/>
                <a:gd name="T5" fmla="*/ 1222 h 2446"/>
                <a:gd name="T6" fmla="*/ 748 w 2448"/>
                <a:gd name="T7" fmla="*/ 2349 h 2446"/>
                <a:gd name="T8" fmla="*/ 1698 w 2448"/>
                <a:gd name="T9" fmla="*/ 2349 h 2446"/>
                <a:gd name="T10" fmla="*/ 2448 w 2448"/>
                <a:gd name="T11" fmla="*/ 1222 h 2446"/>
                <a:gd name="T12" fmla="*/ 816 w 2448"/>
                <a:gd name="T13" fmla="*/ 227 h 2446"/>
                <a:gd name="T14" fmla="*/ 264 w 2448"/>
                <a:gd name="T15" fmla="*/ 737 h 2446"/>
                <a:gd name="T16" fmla="*/ 149 w 2448"/>
                <a:gd name="T17" fmla="*/ 1222 h 2446"/>
                <a:gd name="T18" fmla="*/ 554 w 2448"/>
                <a:gd name="T19" fmla="*/ 884 h 2446"/>
                <a:gd name="T20" fmla="*/ 554 w 2448"/>
                <a:gd name="T21" fmla="*/ 1556 h 2446"/>
                <a:gd name="T22" fmla="*/ 149 w 2448"/>
                <a:gd name="T23" fmla="*/ 1222 h 2446"/>
                <a:gd name="T24" fmla="*/ 584 w 2448"/>
                <a:gd name="T25" fmla="*/ 1704 h 2446"/>
                <a:gd name="T26" fmla="*/ 264 w 2448"/>
                <a:gd name="T27" fmla="*/ 1704 h 2446"/>
                <a:gd name="T28" fmla="*/ 906 w 2448"/>
                <a:gd name="T29" fmla="*/ 2092 h 2446"/>
                <a:gd name="T30" fmla="*/ 1148 w 2448"/>
                <a:gd name="T31" fmla="*/ 1704 h 2446"/>
                <a:gd name="T32" fmla="*/ 1148 w 2448"/>
                <a:gd name="T33" fmla="*/ 1556 h 2446"/>
                <a:gd name="T34" fmla="*/ 677 w 2448"/>
                <a:gd name="T35" fmla="*/ 1222 h 2446"/>
                <a:gd name="T36" fmla="*/ 1148 w 2448"/>
                <a:gd name="T37" fmla="*/ 884 h 2446"/>
                <a:gd name="T38" fmla="*/ 1148 w 2448"/>
                <a:gd name="T39" fmla="*/ 737 h 2446"/>
                <a:gd name="T40" fmla="*/ 909 w 2448"/>
                <a:gd name="T41" fmla="*/ 353 h 2446"/>
                <a:gd name="T42" fmla="*/ 1148 w 2448"/>
                <a:gd name="T43" fmla="*/ 737 h 2446"/>
                <a:gd name="T44" fmla="*/ 1864 w 2448"/>
                <a:gd name="T45" fmla="*/ 737 h 2446"/>
                <a:gd name="T46" fmla="*/ 2184 w 2448"/>
                <a:gd name="T47" fmla="*/ 737 h 2446"/>
                <a:gd name="T48" fmla="*/ 1539 w 2448"/>
                <a:gd name="T49" fmla="*/ 353 h 2446"/>
                <a:gd name="T50" fmla="*/ 1300 w 2448"/>
                <a:gd name="T51" fmla="*/ 737 h 2446"/>
                <a:gd name="T52" fmla="*/ 1300 w 2448"/>
                <a:gd name="T53" fmla="*/ 884 h 2446"/>
                <a:gd name="T54" fmla="*/ 1771 w 2448"/>
                <a:gd name="T55" fmla="*/ 1222 h 2446"/>
                <a:gd name="T56" fmla="*/ 1300 w 2448"/>
                <a:gd name="T57" fmla="*/ 1556 h 2446"/>
                <a:gd name="T58" fmla="*/ 1300 w 2448"/>
                <a:gd name="T59" fmla="*/ 2286 h 2446"/>
                <a:gd name="T60" fmla="*/ 1711 w 2448"/>
                <a:gd name="T61" fmla="*/ 1704 h 2446"/>
                <a:gd name="T62" fmla="*/ 1300 w 2448"/>
                <a:gd name="T63" fmla="*/ 2286 h 2446"/>
                <a:gd name="T64" fmla="*/ 1864 w 2448"/>
                <a:gd name="T65" fmla="*/ 1704 h 2446"/>
                <a:gd name="T66" fmla="*/ 1632 w 2448"/>
                <a:gd name="T67" fmla="*/ 2219 h 2446"/>
                <a:gd name="T68" fmla="*/ 1894 w 2448"/>
                <a:gd name="T69" fmla="*/ 1556 h 2446"/>
                <a:gd name="T70" fmla="*/ 1894 w 2448"/>
                <a:gd name="T71" fmla="*/ 884 h 2446"/>
                <a:gd name="T72" fmla="*/ 2299 w 2448"/>
                <a:gd name="T73" fmla="*/ 1222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48" h="2446">
                  <a:moveTo>
                    <a:pt x="2350" y="747"/>
                  </a:moveTo>
                  <a:cubicBezTo>
                    <a:pt x="2221" y="446"/>
                    <a:pt x="2002" y="227"/>
                    <a:pt x="1698" y="97"/>
                  </a:cubicBezTo>
                  <a:cubicBezTo>
                    <a:pt x="1547" y="33"/>
                    <a:pt x="1389" y="0"/>
                    <a:pt x="1223" y="0"/>
                  </a:cubicBezTo>
                  <a:cubicBezTo>
                    <a:pt x="1057" y="0"/>
                    <a:pt x="900" y="32"/>
                    <a:pt x="748" y="97"/>
                  </a:cubicBezTo>
                  <a:cubicBezTo>
                    <a:pt x="447" y="226"/>
                    <a:pt x="226" y="445"/>
                    <a:pt x="96" y="747"/>
                  </a:cubicBezTo>
                  <a:cubicBezTo>
                    <a:pt x="32" y="898"/>
                    <a:pt x="0" y="1056"/>
                    <a:pt x="0" y="1222"/>
                  </a:cubicBezTo>
                  <a:cubicBezTo>
                    <a:pt x="0" y="1388"/>
                    <a:pt x="32" y="1547"/>
                    <a:pt x="96" y="1698"/>
                  </a:cubicBezTo>
                  <a:cubicBezTo>
                    <a:pt x="226" y="2000"/>
                    <a:pt x="447" y="2220"/>
                    <a:pt x="748" y="2349"/>
                  </a:cubicBezTo>
                  <a:cubicBezTo>
                    <a:pt x="900" y="2414"/>
                    <a:pt x="1057" y="2446"/>
                    <a:pt x="1223" y="2446"/>
                  </a:cubicBezTo>
                  <a:cubicBezTo>
                    <a:pt x="1389" y="2446"/>
                    <a:pt x="1547" y="2413"/>
                    <a:pt x="1698" y="2349"/>
                  </a:cubicBezTo>
                  <a:cubicBezTo>
                    <a:pt x="2002" y="2219"/>
                    <a:pt x="2221" y="1999"/>
                    <a:pt x="2350" y="1698"/>
                  </a:cubicBezTo>
                  <a:cubicBezTo>
                    <a:pt x="2415" y="1547"/>
                    <a:pt x="2448" y="1388"/>
                    <a:pt x="2448" y="1222"/>
                  </a:cubicBezTo>
                  <a:cubicBezTo>
                    <a:pt x="2448" y="1056"/>
                    <a:pt x="2415" y="898"/>
                    <a:pt x="2350" y="747"/>
                  </a:cubicBezTo>
                  <a:close/>
                  <a:moveTo>
                    <a:pt x="816" y="227"/>
                  </a:moveTo>
                  <a:cubicBezTo>
                    <a:pt x="711" y="361"/>
                    <a:pt x="633" y="531"/>
                    <a:pt x="584" y="737"/>
                  </a:cubicBezTo>
                  <a:cubicBezTo>
                    <a:pt x="264" y="737"/>
                    <a:pt x="264" y="737"/>
                    <a:pt x="264" y="737"/>
                  </a:cubicBezTo>
                  <a:cubicBezTo>
                    <a:pt x="381" y="508"/>
                    <a:pt x="580" y="325"/>
                    <a:pt x="816" y="227"/>
                  </a:cubicBezTo>
                  <a:close/>
                  <a:moveTo>
                    <a:pt x="149" y="1222"/>
                  </a:moveTo>
                  <a:cubicBezTo>
                    <a:pt x="149" y="1105"/>
                    <a:pt x="167" y="993"/>
                    <a:pt x="203" y="884"/>
                  </a:cubicBezTo>
                  <a:cubicBezTo>
                    <a:pt x="554" y="884"/>
                    <a:pt x="554" y="884"/>
                    <a:pt x="554" y="884"/>
                  </a:cubicBezTo>
                  <a:cubicBezTo>
                    <a:pt x="537" y="998"/>
                    <a:pt x="529" y="1111"/>
                    <a:pt x="529" y="1222"/>
                  </a:cubicBezTo>
                  <a:cubicBezTo>
                    <a:pt x="529" y="1331"/>
                    <a:pt x="537" y="1443"/>
                    <a:pt x="554" y="1556"/>
                  </a:cubicBezTo>
                  <a:cubicBezTo>
                    <a:pt x="201" y="1556"/>
                    <a:pt x="201" y="1556"/>
                    <a:pt x="201" y="1556"/>
                  </a:cubicBezTo>
                  <a:cubicBezTo>
                    <a:pt x="166" y="1448"/>
                    <a:pt x="149" y="1335"/>
                    <a:pt x="149" y="1222"/>
                  </a:cubicBezTo>
                  <a:close/>
                  <a:moveTo>
                    <a:pt x="264" y="1704"/>
                  </a:moveTo>
                  <a:cubicBezTo>
                    <a:pt x="584" y="1704"/>
                    <a:pt x="584" y="1704"/>
                    <a:pt x="584" y="1704"/>
                  </a:cubicBezTo>
                  <a:cubicBezTo>
                    <a:pt x="633" y="1914"/>
                    <a:pt x="711" y="2086"/>
                    <a:pt x="816" y="2219"/>
                  </a:cubicBezTo>
                  <a:cubicBezTo>
                    <a:pt x="576" y="2118"/>
                    <a:pt x="377" y="1935"/>
                    <a:pt x="264" y="1704"/>
                  </a:cubicBezTo>
                  <a:close/>
                  <a:moveTo>
                    <a:pt x="1148" y="2286"/>
                  </a:moveTo>
                  <a:cubicBezTo>
                    <a:pt x="1061" y="2260"/>
                    <a:pt x="980" y="2196"/>
                    <a:pt x="906" y="2092"/>
                  </a:cubicBezTo>
                  <a:cubicBezTo>
                    <a:pt x="833" y="1987"/>
                    <a:pt x="776" y="1857"/>
                    <a:pt x="737" y="1704"/>
                  </a:cubicBezTo>
                  <a:cubicBezTo>
                    <a:pt x="1148" y="1704"/>
                    <a:pt x="1148" y="1704"/>
                    <a:pt x="1148" y="1704"/>
                  </a:cubicBezTo>
                  <a:lnTo>
                    <a:pt x="1148" y="2286"/>
                  </a:lnTo>
                  <a:close/>
                  <a:moveTo>
                    <a:pt x="1148" y="1556"/>
                  </a:moveTo>
                  <a:cubicBezTo>
                    <a:pt x="704" y="1556"/>
                    <a:pt x="704" y="1556"/>
                    <a:pt x="704" y="1556"/>
                  </a:cubicBezTo>
                  <a:cubicBezTo>
                    <a:pt x="687" y="1437"/>
                    <a:pt x="677" y="1326"/>
                    <a:pt x="677" y="1222"/>
                  </a:cubicBezTo>
                  <a:cubicBezTo>
                    <a:pt x="677" y="1109"/>
                    <a:pt x="687" y="997"/>
                    <a:pt x="707" y="884"/>
                  </a:cubicBezTo>
                  <a:cubicBezTo>
                    <a:pt x="1148" y="884"/>
                    <a:pt x="1148" y="884"/>
                    <a:pt x="1148" y="884"/>
                  </a:cubicBezTo>
                  <a:cubicBezTo>
                    <a:pt x="1148" y="1556"/>
                    <a:pt x="1148" y="1556"/>
                    <a:pt x="1148" y="1556"/>
                  </a:cubicBezTo>
                  <a:close/>
                  <a:moveTo>
                    <a:pt x="1148" y="737"/>
                  </a:moveTo>
                  <a:cubicBezTo>
                    <a:pt x="737" y="737"/>
                    <a:pt x="737" y="737"/>
                    <a:pt x="737" y="737"/>
                  </a:cubicBezTo>
                  <a:cubicBezTo>
                    <a:pt x="779" y="585"/>
                    <a:pt x="836" y="456"/>
                    <a:pt x="909" y="353"/>
                  </a:cubicBezTo>
                  <a:cubicBezTo>
                    <a:pt x="983" y="249"/>
                    <a:pt x="1061" y="184"/>
                    <a:pt x="1148" y="160"/>
                  </a:cubicBezTo>
                  <a:cubicBezTo>
                    <a:pt x="1148" y="737"/>
                    <a:pt x="1148" y="737"/>
                    <a:pt x="1148" y="737"/>
                  </a:cubicBezTo>
                  <a:close/>
                  <a:moveTo>
                    <a:pt x="2184" y="737"/>
                  </a:moveTo>
                  <a:cubicBezTo>
                    <a:pt x="1864" y="737"/>
                    <a:pt x="1864" y="737"/>
                    <a:pt x="1864" y="737"/>
                  </a:cubicBezTo>
                  <a:cubicBezTo>
                    <a:pt x="1815" y="531"/>
                    <a:pt x="1737" y="361"/>
                    <a:pt x="1632" y="227"/>
                  </a:cubicBezTo>
                  <a:cubicBezTo>
                    <a:pt x="1868" y="325"/>
                    <a:pt x="2067" y="508"/>
                    <a:pt x="2184" y="737"/>
                  </a:cubicBezTo>
                  <a:close/>
                  <a:moveTo>
                    <a:pt x="1300" y="160"/>
                  </a:moveTo>
                  <a:cubicBezTo>
                    <a:pt x="1387" y="184"/>
                    <a:pt x="1465" y="249"/>
                    <a:pt x="1539" y="353"/>
                  </a:cubicBezTo>
                  <a:cubicBezTo>
                    <a:pt x="1613" y="456"/>
                    <a:pt x="1669" y="585"/>
                    <a:pt x="1711" y="737"/>
                  </a:cubicBezTo>
                  <a:cubicBezTo>
                    <a:pt x="1300" y="737"/>
                    <a:pt x="1300" y="737"/>
                    <a:pt x="1300" y="737"/>
                  </a:cubicBezTo>
                  <a:lnTo>
                    <a:pt x="1300" y="160"/>
                  </a:lnTo>
                  <a:close/>
                  <a:moveTo>
                    <a:pt x="1300" y="884"/>
                  </a:moveTo>
                  <a:cubicBezTo>
                    <a:pt x="1741" y="884"/>
                    <a:pt x="1741" y="884"/>
                    <a:pt x="1741" y="884"/>
                  </a:cubicBezTo>
                  <a:cubicBezTo>
                    <a:pt x="1761" y="997"/>
                    <a:pt x="1771" y="1109"/>
                    <a:pt x="1771" y="1222"/>
                  </a:cubicBezTo>
                  <a:cubicBezTo>
                    <a:pt x="1771" y="1326"/>
                    <a:pt x="1761" y="1437"/>
                    <a:pt x="1744" y="1556"/>
                  </a:cubicBezTo>
                  <a:cubicBezTo>
                    <a:pt x="1300" y="1556"/>
                    <a:pt x="1300" y="1556"/>
                    <a:pt x="1300" y="1556"/>
                  </a:cubicBezTo>
                  <a:lnTo>
                    <a:pt x="1300" y="884"/>
                  </a:lnTo>
                  <a:close/>
                  <a:moveTo>
                    <a:pt x="1300" y="2286"/>
                  </a:moveTo>
                  <a:cubicBezTo>
                    <a:pt x="1300" y="1704"/>
                    <a:pt x="1300" y="1704"/>
                    <a:pt x="1300" y="1704"/>
                  </a:cubicBezTo>
                  <a:cubicBezTo>
                    <a:pt x="1711" y="1704"/>
                    <a:pt x="1711" y="1704"/>
                    <a:pt x="1711" y="1704"/>
                  </a:cubicBezTo>
                  <a:cubicBezTo>
                    <a:pt x="1670" y="1857"/>
                    <a:pt x="1613" y="1987"/>
                    <a:pt x="1541" y="2092"/>
                  </a:cubicBezTo>
                  <a:cubicBezTo>
                    <a:pt x="1467" y="2197"/>
                    <a:pt x="1388" y="2262"/>
                    <a:pt x="1300" y="2286"/>
                  </a:cubicBezTo>
                  <a:close/>
                  <a:moveTo>
                    <a:pt x="1632" y="2219"/>
                  </a:moveTo>
                  <a:cubicBezTo>
                    <a:pt x="1737" y="2086"/>
                    <a:pt x="1815" y="1914"/>
                    <a:pt x="1864" y="1704"/>
                  </a:cubicBezTo>
                  <a:cubicBezTo>
                    <a:pt x="2184" y="1704"/>
                    <a:pt x="2184" y="1704"/>
                    <a:pt x="2184" y="1704"/>
                  </a:cubicBezTo>
                  <a:cubicBezTo>
                    <a:pt x="2071" y="1935"/>
                    <a:pt x="1872" y="2118"/>
                    <a:pt x="1632" y="2219"/>
                  </a:cubicBezTo>
                  <a:close/>
                  <a:moveTo>
                    <a:pt x="2247" y="1556"/>
                  </a:moveTo>
                  <a:cubicBezTo>
                    <a:pt x="1894" y="1556"/>
                    <a:pt x="1894" y="1556"/>
                    <a:pt x="1894" y="1556"/>
                  </a:cubicBezTo>
                  <a:cubicBezTo>
                    <a:pt x="1911" y="1443"/>
                    <a:pt x="1919" y="1331"/>
                    <a:pt x="1919" y="1222"/>
                  </a:cubicBezTo>
                  <a:cubicBezTo>
                    <a:pt x="1919" y="1111"/>
                    <a:pt x="1911" y="998"/>
                    <a:pt x="1894" y="884"/>
                  </a:cubicBezTo>
                  <a:cubicBezTo>
                    <a:pt x="2245" y="884"/>
                    <a:pt x="2245" y="884"/>
                    <a:pt x="2245" y="884"/>
                  </a:cubicBezTo>
                  <a:cubicBezTo>
                    <a:pt x="2281" y="993"/>
                    <a:pt x="2299" y="1105"/>
                    <a:pt x="2299" y="1222"/>
                  </a:cubicBezTo>
                  <a:cubicBezTo>
                    <a:pt x="2299" y="1335"/>
                    <a:pt x="2282" y="1448"/>
                    <a:pt x="2247" y="15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DF0C94BA-6095-7AA6-0D09-8EC8549B2096}"/>
              </a:ext>
            </a:extLst>
          </p:cNvPr>
          <p:cNvSpPr txBox="1"/>
          <p:nvPr/>
        </p:nvSpPr>
        <p:spPr>
          <a:xfrm>
            <a:off x="8349905" y="2662832"/>
            <a:ext cx="2101881" cy="123794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1">
                    <a:lumMod val="75000"/>
                  </a:schemeClr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28E65114-A3AD-850F-2C82-7092646DEB21}"/>
              </a:ext>
            </a:extLst>
          </p:cNvPr>
          <p:cNvSpPr txBox="1">
            <a:spLocks/>
          </p:cNvSpPr>
          <p:nvPr/>
        </p:nvSpPr>
        <p:spPr>
          <a:xfrm>
            <a:off x="5486401" y="3942027"/>
            <a:ext cx="1371638" cy="52168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b="1" dirty="0">
                <a:solidFill>
                  <a:schemeClr val="tx2"/>
                </a:solidFill>
                <a:latin typeface="+mn-lt"/>
                <a:ea typeface="Open Sans ExtraBold" charset="0"/>
                <a:cs typeface="Open Sans ExtraBold" charset="0"/>
              </a:rPr>
              <a:t>INSERT</a:t>
            </a:r>
            <a:r>
              <a:rPr lang="en-IN" sz="2000" b="1" dirty="0">
                <a:solidFill>
                  <a:schemeClr val="tx2"/>
                </a:solidFill>
                <a:latin typeface="+mn-lt"/>
              </a:rPr>
              <a:t> </a:t>
            </a:r>
            <a:br>
              <a:rPr lang="en-IN" sz="1200" b="1" dirty="0">
                <a:solidFill>
                  <a:schemeClr val="tx2"/>
                </a:solidFill>
                <a:latin typeface="+mn-lt"/>
              </a:rPr>
            </a:br>
            <a:r>
              <a:rPr lang="en-IN" sz="1100" dirty="0">
                <a:solidFill>
                  <a:schemeClr val="tx2"/>
                </a:solidFill>
                <a:latin typeface="+mn-lt"/>
              </a:rPr>
              <a:t>SUB-HEADING</a:t>
            </a:r>
            <a:endParaRPr lang="en-IN" sz="10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2329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0</TotalTime>
  <Words>109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Light</vt:lpstr>
      <vt:lpstr>Wingdings</vt:lpstr>
      <vt:lpstr>Office Theme</vt:lpstr>
      <vt:lpstr>think-cell Slide</vt:lpstr>
      <vt:lpstr>5 Infographic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32</cp:revision>
  <dcterms:created xsi:type="dcterms:W3CDTF">2021-03-31T02:49:57Z</dcterms:created>
  <dcterms:modified xsi:type="dcterms:W3CDTF">2025-10-15T08:24:19Z</dcterms:modified>
  <cp:category/>
</cp:coreProperties>
</file>